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p:scale>
          <a:sx n="75" d="100"/>
          <a:sy n="75" d="100"/>
        </p:scale>
        <p:origin x="284" y="-54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ddy, Chenchireddy Gari Vikas" userId="39c6f3ef-255b-43c7-a95d-dc6fbcde5d4c" providerId="ADAL" clId="{FF46E61A-9AF3-4AEB-B655-76F3A1FBCE29}"/>
    <pc:docChg chg="modSld">
      <pc:chgData name="Reddy, Chenchireddy Gari Vikas" userId="39c6f3ef-255b-43c7-a95d-dc6fbcde5d4c" providerId="ADAL" clId="{FF46E61A-9AF3-4AEB-B655-76F3A1FBCE29}" dt="2022-08-24T12:51:39.932" v="6" actId="21"/>
      <pc:docMkLst>
        <pc:docMk/>
      </pc:docMkLst>
      <pc:sldChg chg="delSp modSp">
        <pc:chgData name="Reddy, Chenchireddy Gari Vikas" userId="39c6f3ef-255b-43c7-a95d-dc6fbcde5d4c" providerId="ADAL" clId="{FF46E61A-9AF3-4AEB-B655-76F3A1FBCE29}" dt="2022-08-24T12:51:39.932" v="6" actId="21"/>
        <pc:sldMkLst>
          <pc:docMk/>
          <pc:sldMk cId="3622275861" sldId="1989"/>
        </pc:sldMkLst>
        <pc:picChg chg="mod">
          <ac:chgData name="Reddy, Chenchireddy Gari Vikas" userId="39c6f3ef-255b-43c7-a95d-dc6fbcde5d4c" providerId="ADAL" clId="{FF46E61A-9AF3-4AEB-B655-76F3A1FBCE29}" dt="2022-08-24T12:39:36.386" v="3" actId="14100"/>
          <ac:picMkLst>
            <pc:docMk/>
            <pc:sldMk cId="3622275861" sldId="1989"/>
            <ac:picMk id="7179" creationId="{12618B16-99B6-4F89-A145-C5939A93831F}"/>
          </ac:picMkLst>
        </pc:picChg>
        <pc:picChg chg="del mod">
          <ac:chgData name="Reddy, Chenchireddy Gari Vikas" userId="39c6f3ef-255b-43c7-a95d-dc6fbcde5d4c" providerId="ADAL" clId="{FF46E61A-9AF3-4AEB-B655-76F3A1FBCE29}" dt="2022-08-24T12:51:39.932" v="6" actId="21"/>
          <ac:picMkLst>
            <pc:docMk/>
            <pc:sldMk cId="3622275861" sldId="1989"/>
            <ac:picMk id="7181" creationId="{568E79A1-196A-4599-9F1F-AD39B99F1222}"/>
          </ac:picMkLst>
        </pc:picChg>
      </pc:sldChg>
    </pc:docChg>
  </pc:docChgLst>
  <pc:docChgLst>
    <pc:chgData name="Reddy, Chenchireddy Gari Vikas" userId="39c6f3ef-255b-43c7-a95d-dc6fbcde5d4c" providerId="ADAL" clId="{BD33F876-78A2-4FFD-9935-19A54DF5BA7A}"/>
    <pc:docChg chg="undo custSel modSld">
      <pc:chgData name="Reddy, Chenchireddy Gari Vikas" userId="39c6f3ef-255b-43c7-a95d-dc6fbcde5d4c" providerId="ADAL" clId="{BD33F876-78A2-4FFD-9935-19A54DF5BA7A}" dt="2022-10-25T06:08:06.367" v="268" actId="21"/>
      <pc:docMkLst>
        <pc:docMk/>
      </pc:docMkLst>
      <pc:sldChg chg="addSp delSp modSp mod">
        <pc:chgData name="Reddy, Chenchireddy Gari Vikas" userId="39c6f3ef-255b-43c7-a95d-dc6fbcde5d4c" providerId="ADAL" clId="{BD33F876-78A2-4FFD-9935-19A54DF5BA7A}" dt="2022-10-25T06:08:06.367" v="268" actId="21"/>
        <pc:sldMkLst>
          <pc:docMk/>
          <pc:sldMk cId="3622275861" sldId="1989"/>
        </pc:sldMkLst>
        <pc:spChg chg="mod">
          <ac:chgData name="Reddy, Chenchireddy Gari Vikas" userId="39c6f3ef-255b-43c7-a95d-dc6fbcde5d4c" providerId="ADAL" clId="{BD33F876-78A2-4FFD-9935-19A54DF5BA7A}" dt="2022-10-25T06:04:55.758" v="192" actId="20577"/>
          <ac:spMkLst>
            <pc:docMk/>
            <pc:sldMk cId="3622275861" sldId="1989"/>
            <ac:spMk id="7170" creationId="{4EF0A5D5-CB77-4BCF-86BB-EC8AFA4AA0E3}"/>
          </ac:spMkLst>
        </pc:spChg>
        <pc:spChg chg="add del mod">
          <ac:chgData name="Reddy, Chenchireddy Gari Vikas" userId="39c6f3ef-255b-43c7-a95d-dc6fbcde5d4c" providerId="ADAL" clId="{BD33F876-78A2-4FFD-9935-19A54DF5BA7A}" dt="2022-10-25T06:07:38.085" v="267" actId="47"/>
          <ac:spMkLst>
            <pc:docMk/>
            <pc:sldMk cId="3622275861" sldId="1989"/>
            <ac:spMk id="7180" creationId="{273FF0AF-5E94-435C-8A2A-7A7CA0FE36A6}"/>
          </ac:spMkLst>
        </pc:spChg>
        <pc:picChg chg="add mod">
          <ac:chgData name="Reddy, Chenchireddy Gari Vikas" userId="39c6f3ef-255b-43c7-a95d-dc6fbcde5d4c" providerId="ADAL" clId="{BD33F876-78A2-4FFD-9935-19A54DF5BA7A}" dt="2022-10-25T06:05:26.126" v="258"/>
          <ac:picMkLst>
            <pc:docMk/>
            <pc:sldMk cId="3622275861" sldId="1989"/>
            <ac:picMk id="18" creationId="{268C3D4E-F2A2-48B2-B40E-6347903DC2D8}"/>
          </ac:picMkLst>
        </pc:picChg>
        <pc:picChg chg="del mod">
          <ac:chgData name="Reddy, Chenchireddy Gari Vikas" userId="39c6f3ef-255b-43c7-a95d-dc6fbcde5d4c" providerId="ADAL" clId="{BD33F876-78A2-4FFD-9935-19A54DF5BA7A}" dt="2022-10-25T06:08:06.367" v="268" actId="21"/>
          <ac:picMkLst>
            <pc:docMk/>
            <pc:sldMk cId="3622275861" sldId="1989"/>
            <ac:picMk id="7179" creationId="{12618B16-99B6-4F89-A145-C5939A93831F}"/>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5/10/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5/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25/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1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781479727"/>
              </p:ext>
            </p:extLst>
          </p:nvPr>
        </p:nvGraphicFramePr>
        <p:xfrm>
          <a:off x="9229514" y="1143000"/>
          <a:ext cx="2962486" cy="4347738"/>
        </p:xfrm>
        <a:graphic>
          <a:graphicData uri="http://schemas.openxmlformats.org/drawingml/2006/table">
            <a:tbl>
              <a:tblPr firstRow="1" bandRow="1">
                <a:tableStyleId>{0E3FDE45-AF77-4B5C-9715-49D594BDF05E}</a:tableStyleId>
              </a:tblPr>
              <a:tblGrid>
                <a:gridCol w="733811">
                  <a:extLst>
                    <a:ext uri="{9D8B030D-6E8A-4147-A177-3AD203B41FA5}">
                      <a16:colId xmlns:a16="http://schemas.microsoft.com/office/drawing/2014/main" val="3331298770"/>
                    </a:ext>
                  </a:extLst>
                </a:gridCol>
                <a:gridCol w="2228675">
                  <a:extLst>
                    <a:ext uri="{9D8B030D-6E8A-4147-A177-3AD203B41FA5}">
                      <a16:colId xmlns:a16="http://schemas.microsoft.com/office/drawing/2014/main" val="879084521"/>
                    </a:ext>
                  </a:extLst>
                </a:gridCol>
              </a:tblGrid>
              <a:tr h="560094">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4227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7094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560094">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36886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1073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Sql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 Postgres SQL </a:t>
                      </a:r>
                    </a:p>
                  </a:txBody>
                  <a:tcPr/>
                </a:tc>
                <a:extLst>
                  <a:ext uri="{0D108BD9-81ED-4DB2-BD59-A6C34878D82A}">
                    <a16:rowId xmlns:a16="http://schemas.microsoft.com/office/drawing/2014/main" val="2298680090"/>
                  </a:ext>
                </a:extLst>
              </a:tr>
              <a:tr h="42746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txBody>
                  <a:tcPr/>
                </a:tc>
                <a:extLst>
                  <a:ext uri="{0D108BD9-81ED-4DB2-BD59-A6C34878D82A}">
                    <a16:rowId xmlns:a16="http://schemas.microsoft.com/office/drawing/2014/main" val="9512774"/>
                  </a:ext>
                </a:extLst>
              </a:tr>
              <a:tr h="32816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56009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781301"/>
            <a:ext cx="4008437" cy="2289174"/>
          </a:xfrm>
        </p:spPr>
        <p:txBody>
          <a:bodyPr/>
          <a:lstStyle/>
          <a:p>
            <a:pPr eaLnBrk="1" hangingPunct="1">
              <a:lnSpc>
                <a:spcPct val="114000"/>
              </a:lnSpc>
            </a:pPr>
            <a:r>
              <a:rPr lang="en-US" altLang="nl-NL" b="1" dirty="0"/>
              <a:t>Agriculture Crop System(Casestudy)</a:t>
            </a:r>
          </a:p>
          <a:p>
            <a:pPr eaLnBrk="1" hangingPunct="1">
              <a:lnSpc>
                <a:spcPct val="114000"/>
              </a:lnSpc>
            </a:pPr>
            <a:r>
              <a:rPr lang="en-US" altLang="nl-NL" b="1" dirty="0"/>
              <a:t>Created on Agriculture Crop System which is used to dealer can buy a selected crops from farmer through this application . With the help of various microservices we made the backend and with the react we made the frontend.</a:t>
            </a:r>
          </a:p>
          <a:p>
            <a:pPr eaLnBrk="1" hangingPunct="1">
              <a:lnSpc>
                <a:spcPct val="114000"/>
              </a:lnSpc>
            </a:pPr>
            <a:r>
              <a:rPr lang="en-US" altLang="nl-NL" b="1" dirty="0"/>
              <a:t>Agriculture Loan(Spring Project)</a:t>
            </a:r>
          </a:p>
          <a:p>
            <a:pPr eaLnBrk="1" hangingPunct="1">
              <a:lnSpc>
                <a:spcPct val="114000"/>
              </a:lnSpc>
            </a:pPr>
            <a:r>
              <a:rPr lang="en-US" altLang="nl-NL" b="1" dirty="0"/>
              <a:t>Created Agriculture loan application which is build to help customer to apply agriculture loans which is developed to automate all the activities of CRUD operation for loan ,documents and users through an application. We can create a system where we can manage all the information in a single place.</a:t>
            </a:r>
          </a:p>
          <a:p>
            <a:pPr eaLnBrk="1" hangingPunct="1">
              <a:lnSpc>
                <a:spcPct val="114000"/>
              </a:lnSpc>
            </a:pPr>
            <a:r>
              <a:rPr lang="en-US" altLang="nl-NL" b="1" dirty="0"/>
              <a:t>Note making system(React Project)</a:t>
            </a:r>
          </a:p>
          <a:p>
            <a:pPr eaLnBrk="1" hangingPunct="1">
              <a:lnSpc>
                <a:spcPct val="114000"/>
              </a:lnSpc>
            </a:pPr>
            <a:r>
              <a:rPr lang="en-US" altLang="nl-NL" b="1" dirty="0"/>
              <a:t>This application is built to help customer to keep their notes updated. User can save and delete the note and it is easy to use.</a:t>
            </a:r>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09955" y="1589832"/>
            <a:ext cx="4257645" cy="431895"/>
          </a:xfrm>
        </p:spPr>
        <p:txBody>
          <a:bodyPr/>
          <a:lstStyle/>
          <a:p>
            <a:pPr eaLnBrk="1" hangingPunct="1"/>
            <a:r>
              <a:rPr lang="nl-NL" altLang="nl-NL" dirty="0"/>
              <a:t>Chenchireddy-gari-vikas.reddy@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276600" y="1832078"/>
            <a:ext cx="2382837" cy="186200"/>
          </a:xfrm>
        </p:spPr>
        <p:txBody>
          <a:bodyPr/>
          <a:lstStyle/>
          <a:p>
            <a:pPr eaLnBrk="1" hangingPunct="1"/>
            <a:r>
              <a:rPr lang="nl-NL" altLang="nl-NL" dirty="0"/>
              <a:t>+91 8074878256</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React</a:t>
            </a:r>
            <a:r>
              <a:rPr lang="en-US" dirty="0"/>
              <a:t> with Authentication</a:t>
            </a:r>
          </a:p>
          <a:p>
            <a:pPr marL="171450" indent="-171450">
              <a:buFont typeface="Arial" panose="020B0604020202020204" pitchFamily="34" charset="0"/>
              <a:buChar char="•"/>
            </a:pPr>
            <a:r>
              <a:rPr lang="en-US" sz="1000" dirty="0"/>
              <a:t>Hands on experience in developing web pages using </a:t>
            </a:r>
            <a:r>
              <a:rPr lang="en-US" sz="1000" b="1" dirty="0"/>
              <a:t>HTML5, CSS3, Object Oriented Java script.</a:t>
            </a:r>
          </a:p>
          <a:p>
            <a:pPr marL="171450" indent="-171450">
              <a:buFont typeface="Arial" panose="020B0604020202020204" pitchFamily="34" charset="0"/>
              <a:buChar char="•"/>
            </a:pPr>
            <a:r>
              <a:rPr lang="en-US" dirty="0"/>
              <a:t>C</a:t>
            </a:r>
            <a:r>
              <a:rPr lang="en-US" sz="1000" dirty="0"/>
              <a:t>urrentl</a:t>
            </a:r>
            <a:r>
              <a:rPr lang="en-US" dirty="0"/>
              <a:t>y improving skills on itransform-platform.</a:t>
            </a:r>
          </a:p>
          <a:p>
            <a:pPr marL="171450" indent="-171450">
              <a:buFont typeface="Arial" panose="020B0604020202020204" pitchFamily="34" charset="0"/>
              <a:buChar char="•"/>
            </a:pPr>
            <a:r>
              <a:rPr lang="en-US" sz="1000" dirty="0"/>
              <a:t>Having good know</a:t>
            </a:r>
            <a:r>
              <a:rPr lang="en-US" dirty="0"/>
              <a:t>ledge on spring core, Spring MVC ,Spring boot.</a:t>
            </a:r>
          </a:p>
          <a:p>
            <a:pPr marL="171450" indent="-171450">
              <a:buFont typeface="Arial" panose="020B0604020202020204" pitchFamily="34" charset="0"/>
              <a:buChar char="•"/>
            </a:pPr>
            <a:r>
              <a:rPr lang="en-US" sz="1000" dirty="0"/>
              <a:t>Having knowledge about microservices.</a:t>
            </a:r>
          </a:p>
          <a:p>
            <a:pPr marL="171450" indent="-171450">
              <a:buFont typeface="Arial" panose="020B0604020202020204" pitchFamily="34" charset="0"/>
              <a:buChar char="•"/>
            </a:pP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39142"/>
            <a:ext cx="6223000" cy="306387"/>
          </a:xfrm>
        </p:spPr>
        <p:txBody>
          <a:bodyPr/>
          <a:lstStyle/>
          <a:p>
            <a:r>
              <a:rPr lang="en-IN" altLang="en-US" dirty="0"/>
              <a:t>CHENCHIREDDY GARI VIKAS REDDY</a:t>
            </a:r>
          </a:p>
        </p:txBody>
      </p:sp>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53000" y="6397625"/>
            <a:ext cx="34099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Civil: 2017-2021</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7" name="Picture Placeholder 16">
            <a:extLst>
              <a:ext uri="{FF2B5EF4-FFF2-40B4-BE49-F238E27FC236}">
                <a16:creationId xmlns:a16="http://schemas.microsoft.com/office/drawing/2014/main" id="{204DE52F-7645-4FBA-8833-EEBB6E47F2EF}"/>
              </a:ext>
            </a:extLst>
          </p:cNvPr>
          <p:cNvPicPr>
            <a:picLocks noGrp="1" noChangeAspect="1"/>
          </p:cNvPicPr>
          <p:nvPr>
            <p:ph type="pic" sz="quarter" idx="46"/>
          </p:nvPr>
        </p:nvPicPr>
        <p:blipFill>
          <a:blip r:embed="rId4">
            <a:extLst>
              <a:ext uri="{28A0092B-C50C-407E-A947-70E740481C1C}">
                <a14:useLocalDpi xmlns:a14="http://schemas.microsoft.com/office/drawing/2010/main" val="0"/>
              </a:ext>
            </a:extLst>
          </a:blip>
          <a:srcRect t="11375" b="11375"/>
          <a:stretch/>
        </p:blipFill>
        <p:spPr>
          <a:xfrm>
            <a:off x="383259" y="287492"/>
            <a:ext cx="1734208" cy="1730786"/>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4458</TotalTime>
  <Words>347</Words>
  <Application>Microsoft Office PowerPoint</Application>
  <PresentationFormat>Widescreen</PresentationFormat>
  <Paragraphs>57</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Reddy, Chenchireddy Gari Vikas</cp:lastModifiedBy>
  <cp:revision>105</cp:revision>
  <dcterms:created xsi:type="dcterms:W3CDTF">2020-09-22T06:24:34Z</dcterms:created>
  <dcterms:modified xsi:type="dcterms:W3CDTF">2022-10-25T06:08: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